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0"/>
  </p:notesMasterIdLst>
  <p:sldIdLst>
    <p:sldId id="302" r:id="rId7"/>
    <p:sldId id="304" r:id="rId8"/>
    <p:sldId id="303" r:id="rId9"/>
    <p:sldId id="305" r:id="rId10"/>
    <p:sldId id="323" r:id="rId11"/>
    <p:sldId id="338" r:id="rId12"/>
    <p:sldId id="339" r:id="rId13"/>
    <p:sldId id="340" r:id="rId14"/>
    <p:sldId id="341" r:id="rId15"/>
    <p:sldId id="343" r:id="rId16"/>
    <p:sldId id="337" r:id="rId17"/>
    <p:sldId id="345" r:id="rId18"/>
    <p:sldId id="344" r:id="rId19"/>
    <p:sldId id="321" r:id="rId20"/>
    <p:sldId id="322" r:id="rId21"/>
    <p:sldId id="306" r:id="rId22"/>
    <p:sldId id="320" r:id="rId23"/>
    <p:sldId id="314" r:id="rId24"/>
    <p:sldId id="315" r:id="rId25"/>
    <p:sldId id="316" r:id="rId26"/>
    <p:sldId id="317" r:id="rId27"/>
    <p:sldId id="318" r:id="rId28"/>
    <p:sldId id="319"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D524441-67FF-4518-83FB-CD5FAAAE2F50}">
          <p14:sldIdLst>
            <p14:sldId id="302"/>
            <p14:sldId id="304"/>
            <p14:sldId id="303"/>
            <p14:sldId id="305"/>
            <p14:sldId id="323"/>
            <p14:sldId id="338"/>
            <p14:sldId id="339"/>
            <p14:sldId id="340"/>
            <p14:sldId id="341"/>
            <p14:sldId id="343"/>
            <p14:sldId id="337"/>
            <p14:sldId id="345"/>
            <p14:sldId id="344"/>
            <p14:sldId id="321"/>
            <p14:sldId id="322"/>
          </p14:sldIdLst>
        </p14:section>
        <p14:section name="Leere Folien" id="{D3D59C39-C240-43D7-B116-AB0A9AB0E4C7}">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91" autoAdjust="0"/>
    <p:restoredTop sz="70698" autoAdjust="0"/>
  </p:normalViewPr>
  <p:slideViewPr>
    <p:cSldViewPr snapToGrid="0" showGuides="1">
      <p:cViewPr varScale="1">
        <p:scale>
          <a:sx n="81" d="100"/>
          <a:sy n="81" d="100"/>
        </p:scale>
        <p:origin x="2142" y="90"/>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p:scale>
          <a:sx n="50" d="100"/>
          <a:sy n="50" d="100"/>
        </p:scale>
        <p:origin x="3480" y="5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03.04.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exualisierte_inhalt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Titelfolie </a:t>
            </a:r>
            <a:r>
              <a:rPr lang="de-DE" b="1" baseline="0" dirty="0" smtClean="0"/>
              <a:t>Sexualisierte Kommunik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Sexualisierte Inhalt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exualisierte Inhalt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exualisierte_inhalte</a:t>
            </a:r>
            <a:r>
              <a:rPr lang="de-DE" sz="1100" b="1" baseline="0" dirty="0" smtClean="0">
                <a:latin typeface="Arial" panose="020B0604020202020204" pitchFamily="34" charset="0"/>
                <a:cs typeface="Arial" panose="020B0604020202020204" pitchFamily="34" charset="0"/>
              </a:rPr>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exualisierte_inhalt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4065221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652673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Handlungstipps zu </a:t>
            </a:r>
            <a:r>
              <a:rPr lang="de-DE" b="1" baseline="0" dirty="0" smtClean="0"/>
              <a:t>Sexualisierter Kommunik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r>
              <a:rPr lang="de-DE" dirty="0" smtClean="0"/>
              <a:t/>
            </a:r>
            <a:br>
              <a:rPr lang="de-DE" dirty="0" smtClean="0"/>
            </a:b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770107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ulsfragen </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784672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Handlungstipps zu </a:t>
            </a:r>
            <a:r>
              <a:rPr lang="de-DE" b="1" baseline="0" dirty="0" err="1" smtClean="0"/>
              <a:t>Cybergrooming</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r>
              <a:rPr lang="de-DE" dirty="0" smtClean="0"/>
              <a:t/>
            </a:r>
            <a:br>
              <a:rPr lang="de-DE" dirty="0" smtClean="0"/>
            </a:br>
            <a:endParaRPr lang="de-DE" dirty="0" smtClean="0"/>
          </a:p>
          <a:p>
            <a:r>
              <a:rPr lang="de-DE" dirty="0" smtClean="0"/>
              <a:t/>
            </a:r>
            <a:br>
              <a:rPr lang="de-DE" dirty="0" smtClean="0"/>
            </a:br>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3086805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Weitere Informationen für Eltern</a:t>
            </a:r>
            <a:endParaRPr lang="de-DE" b="1"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2797326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3236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 Einstiegsclip „</a:t>
            </a:r>
            <a:r>
              <a:rPr lang="de-DE" b="1" baseline="0" dirty="0" err="1" smtClean="0"/>
              <a:t>Sexting</a:t>
            </a:r>
            <a:r>
              <a:rPr lang="de-DE" b="1" baseline="0" dirty="0" smtClean="0"/>
              <a:t>, </a:t>
            </a:r>
            <a:r>
              <a:rPr lang="de-DE" b="1" baseline="0" dirty="0" err="1" smtClean="0"/>
              <a:t>Nudes</a:t>
            </a:r>
            <a:r>
              <a:rPr lang="de-DE" b="1" baseline="0" dirty="0" smtClean="0"/>
              <a:t>, Pornos – Wie umgehen mit sexualisierten Inhalten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exualisierte_inhal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202619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Titelfolie </a:t>
            </a:r>
            <a:r>
              <a:rPr lang="de-DE" b="1" baseline="0" dirty="0" smtClean="0"/>
              <a:t>Sexualisierte Kommunikatio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561000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ulsfragen</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r>
              <a:rPr lang="de-DE" dirty="0" smtClean="0"/>
              <a:t>Weitere</a:t>
            </a:r>
            <a:r>
              <a:rPr lang="de-DE" baseline="0" dirty="0" smtClean="0"/>
              <a:t> mögliche Einstiegsfr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Was würden Sie tun, wenn Sie eine Nachricht erhalten, die sexuell belästigend ist?</a:t>
            </a:r>
          </a:p>
          <a:p>
            <a:pPr marL="171450" indent="-171450">
              <a:buFont typeface="Arial" panose="020B0604020202020204" pitchFamily="34" charset="0"/>
              <a:buChar char="•"/>
            </a:pPr>
            <a:r>
              <a:rPr lang="de-DE" dirty="0" smtClean="0"/>
              <a:t>Kennen Sie jemanden in Ihrem Umfeld, der schon mal negative Erfahrungen mit Fremden im Internet gemacht hat (z. B. ungewollte Kontaktaufnahme)?</a:t>
            </a: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5087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ein Foto war nur für dich bestimmt!“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565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15135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2800166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922031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3479743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BBAB203F-BA24-0BD6-E70B-7FE11184047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89891448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8F0CBA1A-E681-E0AC-F6A3-72241BD0CEFC}"/>
              </a:ext>
            </a:extLst>
          </p:cNvPr>
          <p:cNvSpPr/>
          <p:nvPr/>
        </p:nvSpPr>
        <p:spPr>
          <a:xfrm>
            <a:off x="6127731" y="5994989"/>
            <a:ext cx="585985" cy="863011"/>
          </a:xfrm>
          <a:custGeom>
            <a:avLst/>
            <a:gdLst>
              <a:gd name="connsiteX0" fmla="*/ 0 w 585985"/>
              <a:gd name="connsiteY0" fmla="*/ 0 h 863011"/>
              <a:gd name="connsiteX1" fmla="*/ 430018 w 585985"/>
              <a:gd name="connsiteY1" fmla="*/ 0 h 863011"/>
              <a:gd name="connsiteX2" fmla="*/ 436292 w 585985"/>
              <a:gd name="connsiteY2" fmla="*/ 0 h 863011"/>
              <a:gd name="connsiteX3" fmla="*/ 445615 w 585985"/>
              <a:gd name="connsiteY3" fmla="*/ 0 h 863011"/>
              <a:gd name="connsiteX4" fmla="*/ 451889 w 585985"/>
              <a:gd name="connsiteY4" fmla="*/ 0 h 863011"/>
              <a:gd name="connsiteX5" fmla="*/ 461211 w 585985"/>
              <a:gd name="connsiteY5" fmla="*/ 3168 h 863011"/>
              <a:gd name="connsiteX6" fmla="*/ 467486 w 585985"/>
              <a:gd name="connsiteY6" fmla="*/ 3168 h 863011"/>
              <a:gd name="connsiteX7" fmla="*/ 476808 w 585985"/>
              <a:gd name="connsiteY7" fmla="*/ 6275 h 863011"/>
              <a:gd name="connsiteX8" fmla="*/ 483083 w 585985"/>
              <a:gd name="connsiteY8" fmla="*/ 9382 h 863011"/>
              <a:gd name="connsiteX9" fmla="*/ 489297 w 585985"/>
              <a:gd name="connsiteY9" fmla="*/ 9382 h 863011"/>
              <a:gd name="connsiteX10" fmla="*/ 498679 w 585985"/>
              <a:gd name="connsiteY10" fmla="*/ 12490 h 863011"/>
              <a:gd name="connsiteX11" fmla="*/ 504894 w 585985"/>
              <a:gd name="connsiteY11" fmla="*/ 15597 h 863011"/>
              <a:gd name="connsiteX12" fmla="*/ 511109 w 585985"/>
              <a:gd name="connsiteY12" fmla="*/ 21871 h 863011"/>
              <a:gd name="connsiteX13" fmla="*/ 517384 w 585985"/>
              <a:gd name="connsiteY13" fmla="*/ 24979 h 863011"/>
              <a:gd name="connsiteX14" fmla="*/ 523598 w 585985"/>
              <a:gd name="connsiteY14" fmla="*/ 28087 h 863011"/>
              <a:gd name="connsiteX15" fmla="*/ 529873 w 585985"/>
              <a:gd name="connsiteY15" fmla="*/ 31194 h 863011"/>
              <a:gd name="connsiteX16" fmla="*/ 536087 w 585985"/>
              <a:gd name="connsiteY16" fmla="*/ 37468 h 863011"/>
              <a:gd name="connsiteX17" fmla="*/ 539195 w 585985"/>
              <a:gd name="connsiteY17" fmla="*/ 40576 h 863011"/>
              <a:gd name="connsiteX18" fmla="*/ 545469 w 585985"/>
              <a:gd name="connsiteY18" fmla="*/ 46790 h 863011"/>
              <a:gd name="connsiteX19" fmla="*/ 551684 w 585985"/>
              <a:gd name="connsiteY19" fmla="*/ 53065 h 863011"/>
              <a:gd name="connsiteX20" fmla="*/ 554792 w 585985"/>
              <a:gd name="connsiteY20" fmla="*/ 56173 h 863011"/>
              <a:gd name="connsiteX21" fmla="*/ 561066 w 585985"/>
              <a:gd name="connsiteY21" fmla="*/ 62387 h 863011"/>
              <a:gd name="connsiteX22" fmla="*/ 564174 w 585985"/>
              <a:gd name="connsiteY22" fmla="*/ 68662 h 863011"/>
              <a:gd name="connsiteX23" fmla="*/ 567281 w 585985"/>
              <a:gd name="connsiteY23" fmla="*/ 74877 h 863011"/>
              <a:gd name="connsiteX24" fmla="*/ 570388 w 585985"/>
              <a:gd name="connsiteY24" fmla="*/ 81092 h 863011"/>
              <a:gd name="connsiteX25" fmla="*/ 573556 w 585985"/>
              <a:gd name="connsiteY25" fmla="*/ 87366 h 863011"/>
              <a:gd name="connsiteX26" fmla="*/ 576663 w 585985"/>
              <a:gd name="connsiteY26" fmla="*/ 93582 h 863011"/>
              <a:gd name="connsiteX27" fmla="*/ 579771 w 585985"/>
              <a:gd name="connsiteY27" fmla="*/ 99796 h 863011"/>
              <a:gd name="connsiteX28" fmla="*/ 582877 w 585985"/>
              <a:gd name="connsiteY28" fmla="*/ 109178 h 863011"/>
              <a:gd name="connsiteX29" fmla="*/ 582877 w 585985"/>
              <a:gd name="connsiteY29" fmla="*/ 115393 h 863011"/>
              <a:gd name="connsiteX30" fmla="*/ 585985 w 585985"/>
              <a:gd name="connsiteY30" fmla="*/ 121667 h 863011"/>
              <a:gd name="connsiteX31" fmla="*/ 585985 w 585985"/>
              <a:gd name="connsiteY31" fmla="*/ 127882 h 863011"/>
              <a:gd name="connsiteX32" fmla="*/ 585985 w 585985"/>
              <a:gd name="connsiteY32" fmla="*/ 137264 h 863011"/>
              <a:gd name="connsiteX33" fmla="*/ 585985 w 585985"/>
              <a:gd name="connsiteY33" fmla="*/ 143479 h 863011"/>
              <a:gd name="connsiteX34" fmla="*/ 585985 w 585985"/>
              <a:gd name="connsiteY34" fmla="*/ 863011 h 863011"/>
              <a:gd name="connsiteX35" fmla="*/ 4157 w 585985"/>
              <a:gd name="connsiteY35" fmla="*/ 863011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1">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1"/>
                </a:lnTo>
                <a:lnTo>
                  <a:pt x="4157" y="863011"/>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F6078C46-F036-F2BE-4342-BB31F56B002B}"/>
              </a:ext>
            </a:extLst>
          </p:cNvPr>
          <p:cNvSpPr/>
          <p:nvPr/>
        </p:nvSpPr>
        <p:spPr>
          <a:xfrm>
            <a:off x="5478283" y="5994989"/>
            <a:ext cx="654766" cy="863011"/>
          </a:xfrm>
          <a:custGeom>
            <a:avLst/>
            <a:gdLst>
              <a:gd name="connsiteX0" fmla="*/ 134156 w 654766"/>
              <a:gd name="connsiteY0" fmla="*/ 0 h 863011"/>
              <a:gd name="connsiteX1" fmla="*/ 140431 w 654766"/>
              <a:gd name="connsiteY1" fmla="*/ 0 h 863011"/>
              <a:gd name="connsiteX2" fmla="*/ 149753 w 654766"/>
              <a:gd name="connsiteY2" fmla="*/ 0 h 863011"/>
              <a:gd name="connsiteX3" fmla="*/ 156029 w 654766"/>
              <a:gd name="connsiteY3" fmla="*/ 0 h 863011"/>
              <a:gd name="connsiteX4" fmla="*/ 649449 w 654766"/>
              <a:gd name="connsiteY4" fmla="*/ 0 h 863011"/>
              <a:gd name="connsiteX5" fmla="*/ 654766 w 654766"/>
              <a:gd name="connsiteY5" fmla="*/ 863011 h 863011"/>
              <a:gd name="connsiteX6" fmla="*/ 0 w 654766"/>
              <a:gd name="connsiteY6" fmla="*/ 863011 h 863011"/>
              <a:gd name="connsiteX7" fmla="*/ 0 w 654766"/>
              <a:gd name="connsiteY7" fmla="*/ 143479 h 863011"/>
              <a:gd name="connsiteX8" fmla="*/ 0 w 654766"/>
              <a:gd name="connsiteY8" fmla="*/ 137264 h 863011"/>
              <a:gd name="connsiteX9" fmla="*/ 0 w 654766"/>
              <a:gd name="connsiteY9" fmla="*/ 127882 h 863011"/>
              <a:gd name="connsiteX10" fmla="*/ 0 w 654766"/>
              <a:gd name="connsiteY10" fmla="*/ 121667 h 863011"/>
              <a:gd name="connsiteX11" fmla="*/ 3168 w 654766"/>
              <a:gd name="connsiteY11" fmla="*/ 115393 h 863011"/>
              <a:gd name="connsiteX12" fmla="*/ 3168 w 654766"/>
              <a:gd name="connsiteY12" fmla="*/ 109178 h 863011"/>
              <a:gd name="connsiteX13" fmla="*/ 6275 w 654766"/>
              <a:gd name="connsiteY13" fmla="*/ 99796 h 863011"/>
              <a:gd name="connsiteX14" fmla="*/ 9382 w 654766"/>
              <a:gd name="connsiteY14" fmla="*/ 93582 h 863011"/>
              <a:gd name="connsiteX15" fmla="*/ 12489 w 654766"/>
              <a:gd name="connsiteY15" fmla="*/ 87366 h 863011"/>
              <a:gd name="connsiteX16" fmla="*/ 15597 w 654766"/>
              <a:gd name="connsiteY16" fmla="*/ 81092 h 863011"/>
              <a:gd name="connsiteX17" fmla="*/ 18765 w 654766"/>
              <a:gd name="connsiteY17" fmla="*/ 74877 h 863011"/>
              <a:gd name="connsiteX18" fmla="*/ 21871 w 654766"/>
              <a:gd name="connsiteY18" fmla="*/ 68662 h 863011"/>
              <a:gd name="connsiteX19" fmla="*/ 28086 w 654766"/>
              <a:gd name="connsiteY19" fmla="*/ 62387 h 863011"/>
              <a:gd name="connsiteX20" fmla="*/ 31194 w 654766"/>
              <a:gd name="connsiteY20" fmla="*/ 56173 h 863011"/>
              <a:gd name="connsiteX21" fmla="*/ 34361 w 654766"/>
              <a:gd name="connsiteY21" fmla="*/ 53065 h 863011"/>
              <a:gd name="connsiteX22" fmla="*/ 40576 w 654766"/>
              <a:gd name="connsiteY22" fmla="*/ 46790 h 863011"/>
              <a:gd name="connsiteX23" fmla="*/ 46790 w 654766"/>
              <a:gd name="connsiteY23" fmla="*/ 40576 h 863011"/>
              <a:gd name="connsiteX24" fmla="*/ 49958 w 654766"/>
              <a:gd name="connsiteY24" fmla="*/ 37468 h 863011"/>
              <a:gd name="connsiteX25" fmla="*/ 56173 w 654766"/>
              <a:gd name="connsiteY25" fmla="*/ 31194 h 863011"/>
              <a:gd name="connsiteX26" fmla="*/ 62387 w 654766"/>
              <a:gd name="connsiteY26" fmla="*/ 28087 h 863011"/>
              <a:gd name="connsiteX27" fmla="*/ 68662 w 654766"/>
              <a:gd name="connsiteY27" fmla="*/ 24979 h 863011"/>
              <a:gd name="connsiteX28" fmla="*/ 74877 w 654766"/>
              <a:gd name="connsiteY28" fmla="*/ 21871 h 863011"/>
              <a:gd name="connsiteX29" fmla="*/ 81152 w 654766"/>
              <a:gd name="connsiteY29" fmla="*/ 15597 h 863011"/>
              <a:gd name="connsiteX30" fmla="*/ 90474 w 654766"/>
              <a:gd name="connsiteY30" fmla="*/ 12490 h 863011"/>
              <a:gd name="connsiteX31" fmla="*/ 96748 w 654766"/>
              <a:gd name="connsiteY31" fmla="*/ 9382 h 863011"/>
              <a:gd name="connsiteX32" fmla="*/ 102963 w 654766"/>
              <a:gd name="connsiteY32" fmla="*/ 9382 h 863011"/>
              <a:gd name="connsiteX33" fmla="*/ 109237 w 654766"/>
              <a:gd name="connsiteY33" fmla="*/ 6275 h 863011"/>
              <a:gd name="connsiteX34" fmla="*/ 118560 w 654766"/>
              <a:gd name="connsiteY34" fmla="*/ 3168 h 863011"/>
              <a:gd name="connsiteX35" fmla="*/ 124834 w 654766"/>
              <a:gd name="connsiteY35" fmla="*/ 3168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1">
                <a:moveTo>
                  <a:pt x="134156" y="0"/>
                </a:moveTo>
                <a:lnTo>
                  <a:pt x="140431" y="0"/>
                </a:lnTo>
                <a:lnTo>
                  <a:pt x="149753" y="0"/>
                </a:lnTo>
                <a:lnTo>
                  <a:pt x="156029" y="0"/>
                </a:lnTo>
                <a:lnTo>
                  <a:pt x="649449" y="0"/>
                </a:lnTo>
                <a:lnTo>
                  <a:pt x="654766" y="863011"/>
                </a:lnTo>
                <a:lnTo>
                  <a:pt x="0" y="863011"/>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1"/>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E4422F72-0064-567C-706C-01C86DC7235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62DC6433-639B-0521-06F2-A496A588CF8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4D1344-820F-A467-92A4-ADFE7E0357F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D23036F-9516-B841-765B-B1D5B01D44F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3"/>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1400">
                <a:solidFill>
                  <a:schemeClr val="tx1">
                    <a:lumMod val="75000"/>
                    <a:lumOff val="25000"/>
                  </a:schemeClr>
                </a:solidFill>
              </a:defRPr>
            </a:lvl1pPr>
            <a:lvl2pPr marL="540000" indent="-270000">
              <a:lnSpc>
                <a:spcPct val="110000"/>
              </a:lnSpc>
              <a:spcBef>
                <a:spcPts val="1500"/>
              </a:spcBef>
              <a:buClr>
                <a:schemeClr val="accent3"/>
              </a:buClr>
              <a:defRPr sz="1400">
                <a:solidFill>
                  <a:schemeClr val="tx1">
                    <a:lumMod val="75000"/>
                    <a:lumOff val="25000"/>
                  </a:schemeClr>
                </a:solidFill>
              </a:defRPr>
            </a:lvl2pPr>
            <a:lvl3pPr marL="810000" indent="-270000">
              <a:lnSpc>
                <a:spcPct val="110000"/>
              </a:lnSpc>
              <a:spcBef>
                <a:spcPts val="1500"/>
              </a:spcBef>
              <a:buClr>
                <a:schemeClr val="accent3"/>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3567B06-4405-9FE8-BA36-EF77E666107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542013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951116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BD609F9-D1FC-CFD9-8614-8AAE035956A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267188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AA59CBB0-AB77-C0F6-C598-448B081F93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image" Target="../media/image9.sv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52"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6"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00"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3" name="Freihandform: Form 2">
            <a:extLst>
              <a:ext uri="{FF2B5EF4-FFF2-40B4-BE49-F238E27FC236}">
                <a16:creationId xmlns:a16="http://schemas.microsoft.com/office/drawing/2014/main" id="{99DF418E-330C-95F3-EF99-9D78611CF846}"/>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57B4B18B-17CB-3FF4-6495-EE765CC2F59C}"/>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0817CAE1-25BE-2424-990B-3DFC4AC9B78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7546EE0A-A10F-5771-4757-F7E31546EBD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51E5D05C-B8D3-0865-6488-4C7B8DC5CB6A}"/>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ABB47EDA-C2AC-491F-A1C0-B0AAAFE10413}"/>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1" r:id="rId4"/>
    <p:sldLayoutId id="2147483662" r:id="rId5"/>
    <p:sldLayoutId id="2147483651" r:id="rId6"/>
    <p:sldLayoutId id="2147483663" r:id="rId7"/>
    <p:sldLayoutId id="2147483672"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NUL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8.png"/><Relationship Id="rId7" Type="http://schemas.openxmlformats.org/officeDocument/2006/relationships/hyperlink" Target="https://mebis.bycs.de/assets/uploads/posts/9/a/4/8/3/9ff43a87-ab8e-4967-8fe5-394e3190b32a/handlungstipps-sexualisierte-kommunikation.pdf"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hyperlink" Target="http://www.nummergegenkummer.de/" TargetMode="External"/><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png"/><Relationship Id="rId7" Type="http://schemas.openxmlformats.org/officeDocument/2006/relationships/hyperlink" Target="http://www.nummergegenkummer.de/" TargetMode="Externa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hyperlink" Target="https://mebis.bycs.de/assets/uploads/posts/9/a/4/8/3/9ff43a87-ab8e-4967-8fe5-394e3190b32a/handlungstipps-cybergrooming.pdf" TargetMode="Externa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r>
              <a:rPr lang="de-DE" dirty="0">
                <a:latin typeface="Segoe UI" panose="020B0502040204020203" pitchFamily="34" charset="0"/>
                <a:cs typeface="Segoe UI" panose="020B0502040204020203" pitchFamily="34" charset="0"/>
              </a:rPr>
              <a:t>Sexualisierte Inhalte</a:t>
            </a:r>
          </a:p>
        </p:txBody>
      </p:sp>
      <p:sp>
        <p:nvSpPr>
          <p:cNvPr id="4" name="Textfeld 3"/>
          <p:cNvSpPr txBox="1"/>
          <p:nvPr/>
        </p:nvSpPr>
        <p:spPr>
          <a:xfrm>
            <a:off x="550863" y="5061600"/>
            <a:ext cx="4813617" cy="830997"/>
          </a:xfrm>
          <a:prstGeom prst="rect">
            <a:avLst/>
          </a:prstGeom>
          <a:noFill/>
        </p:spPr>
        <p:txBody>
          <a:bodyPr wrap="square" lIns="0" rIns="0" rtlCol="0">
            <a:spAutoFit/>
          </a:bodyPr>
          <a:lstStyle/>
          <a:p>
            <a:r>
              <a:rPr lang="de-DE" sz="2400" b="1" dirty="0" smtClean="0">
                <a:solidFill>
                  <a:schemeClr val="accent3"/>
                </a:solidFill>
              </a:rPr>
              <a:t>Thema:</a:t>
            </a:r>
            <a:br>
              <a:rPr lang="de-DE" sz="2400" b="1" dirty="0" smtClean="0">
                <a:solidFill>
                  <a:schemeClr val="accent3"/>
                </a:solidFill>
              </a:rPr>
            </a:br>
            <a:r>
              <a:rPr lang="de-DE" sz="2400" b="1" dirty="0" smtClean="0">
                <a:solidFill>
                  <a:schemeClr val="accent3"/>
                </a:solidFill>
              </a:rPr>
              <a:t>Sexualisierte Kommunikation</a:t>
            </a:r>
            <a:endParaRPr lang="de-DE" sz="2400" b="1" dirty="0">
              <a:solidFill>
                <a:schemeClr val="accent3"/>
              </a:solidFill>
            </a:endParaRPr>
          </a:p>
        </p:txBody>
      </p:sp>
      <p:pic>
        <p:nvPicPr>
          <p:cNvPr id="8" name="Grafik 7">
            <a:extLst>
              <a:ext uri="{FF2B5EF4-FFF2-40B4-BE49-F238E27FC236}">
                <a16:creationId xmlns:a16="http://schemas.microsoft.com/office/drawing/2014/main" id="{5BC8A29A-AB98-E3A7-62CD-DE30A7EA0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lc="http://schemas.openxmlformats.org/drawingml/2006/lockedCanvas" xmlns:asvg="http://schemas.microsoft.com/office/drawing/2016/SVG/main" xmlns="" r:embed="rId5"/>
              </a:ext>
            </a:extLst>
          </a:blip>
          <a:srcRect r="5427"/>
          <a:stretch>
            <a:fillRect/>
          </a:stretch>
        </p:blipFill>
        <p:spPr>
          <a:xfrm>
            <a:off x="5228895" y="1591294"/>
            <a:ext cx="7913544" cy="5915683"/>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0</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03" t="61806" r="2264" b="1469"/>
          <a:stretch/>
        </p:blipFill>
        <p:spPr>
          <a:xfrm>
            <a:off x="550863" y="1665288"/>
            <a:ext cx="8541451" cy="4643437"/>
          </a:xfrm>
          <a:prstGeom prst="rect">
            <a:avLst/>
          </a:prstGeom>
        </p:spPr>
      </p:pic>
    </p:spTree>
    <p:extLst>
      <p:ext uri="{BB962C8B-B14F-4D97-AF65-F5344CB8AC3E}">
        <p14:creationId xmlns:p14="http://schemas.microsoft.com/office/powerpoint/2010/main" val="42338056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8230" y="3289270"/>
            <a:ext cx="3513138" cy="615553"/>
          </a:xfrm>
        </p:spPr>
        <p:txBody>
          <a:bodyPr/>
          <a:lstStyle/>
          <a:p>
            <a:r>
              <a:rPr lang="de-DE" dirty="0" smtClean="0">
                <a:latin typeface="Segoe UI" panose="020B0502040204020203" pitchFamily="34" charset="0"/>
                <a:cs typeface="Segoe UI" panose="020B0502040204020203" pitchFamily="34" charset="0"/>
              </a:rPr>
              <a:t>Ansprechperso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sz="2800" b="1" spc="100" dirty="0" smtClean="0">
                <a:latin typeface="Segoe UI" panose="020B0502040204020203" pitchFamily="34" charset="0"/>
                <a:cs typeface="Segoe UI" panose="020B0502040204020203" pitchFamily="34" charset="0"/>
              </a:rPr>
              <a:t>zu </a:t>
            </a:r>
            <a:r>
              <a:rPr lang="de-DE" dirty="0" smtClean="0"/>
              <a:t>Sexualisierter Kommunikation</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013700" y="3289270"/>
            <a:ext cx="3513138" cy="615553"/>
          </a:xfrm>
        </p:spPr>
        <p:txBody>
          <a:bodyPr/>
          <a:lstStyle/>
          <a:p>
            <a:r>
              <a:rPr lang="de-DE" dirty="0">
                <a:latin typeface="Segoe UI" panose="020B0502040204020203" pitchFamily="34" charset="0"/>
                <a:cs typeface="Segoe UI" panose="020B0502040204020203" pitchFamily="34" charset="0"/>
              </a:rPr>
              <a:t>Gefahr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7926618" y="4267720"/>
            <a:ext cx="3525838" cy="615553"/>
          </a:xfrm>
        </p:spPr>
        <p:txBody>
          <a:bodyPr/>
          <a:lstStyle/>
          <a:p>
            <a:r>
              <a:rPr lang="de-DE" dirty="0">
                <a:latin typeface="Segoe UI" panose="020B0502040204020203" pitchFamily="34" charset="0"/>
                <a:cs typeface="Segoe UI" panose="020B0502040204020203" pitchFamily="34" charset="0"/>
              </a:rPr>
              <a:t>Die Person melden oder block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Nicht auf Erpressung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eingehen </a:t>
            </a:r>
            <a:r>
              <a:rPr lang="de-DE" dirty="0">
                <a:latin typeface="Segoe UI" panose="020B0502040204020203" pitchFamily="34" charset="0"/>
                <a:cs typeface="Segoe UI" panose="020B0502040204020203" pitchFamily="34" charset="0"/>
              </a:rPr>
              <a:t>und Hilfe hol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728495" y="4353030"/>
            <a:ext cx="3525837" cy="615553"/>
          </a:xfrm>
        </p:spPr>
        <p:txBody>
          <a:bodyPr/>
          <a:lstStyle/>
          <a:p>
            <a:r>
              <a:rPr lang="de-DE" dirty="0">
                <a:latin typeface="Segoe UI" panose="020B0502040204020203" pitchFamily="34" charset="0"/>
                <a:cs typeface="Segoe UI" panose="020B0502040204020203" pitchFamily="34" charset="0"/>
              </a:rPr>
              <a:t>Das Kind beim Nein sagen stärk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Beweise sichern und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zeige </a:t>
            </a:r>
            <a:r>
              <a:rPr lang="de-DE" dirty="0">
                <a:latin typeface="Segoe UI" panose="020B0502040204020203" pitchFamily="34" charset="0"/>
                <a:cs typeface="Segoe UI" panose="020B0502040204020203" pitchFamily="34" charset="0"/>
              </a:rPr>
              <a:t>erstat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1</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6552" y="3147046"/>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88515" y="3147046"/>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63353" y="4136153"/>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814133" y="4136153"/>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54"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728495" y="2165339"/>
            <a:ext cx="3876278" cy="923330"/>
          </a:xfrm>
        </p:spPr>
        <p:txBody>
          <a:bodyPr/>
          <a:lstStyle/>
          <a:p>
            <a:r>
              <a:rPr lang="de-DE" dirty="0">
                <a:latin typeface="Segoe UI" panose="020B0502040204020203" pitchFamily="34" charset="0"/>
                <a:cs typeface="Segoe UI" panose="020B0502040204020203" pitchFamily="34" charset="0"/>
              </a:rPr>
              <a:t>Über </a:t>
            </a:r>
            <a:r>
              <a:rPr lang="de-DE" dirty="0" err="1">
                <a:latin typeface="Segoe UI" panose="020B0502040204020203" pitchFamily="34" charset="0"/>
                <a:cs typeface="Segoe UI" panose="020B0502040204020203" pitchFamily="34" charset="0"/>
              </a:rPr>
              <a:t>Sexting</a:t>
            </a:r>
            <a:r>
              <a:rPr lang="de-DE" dirty="0">
                <a:latin typeface="Segoe UI" panose="020B0502040204020203" pitchFamily="34" charset="0"/>
                <a:cs typeface="Segoe UI" panose="020B0502040204020203" pitchFamily="34" charset="0"/>
              </a:rPr>
              <a:t> und d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ustausch intime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ufnahmen neutral 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55" name="Gruppieren 54">
            <a:extLst>
              <a:ext uri="{FF2B5EF4-FFF2-40B4-BE49-F238E27FC236}">
                <a16:creationId xmlns:a16="http://schemas.microsoft.com/office/drawing/2014/main" id="{F81ADD89-8741-C83D-05E0-93F394152FE6}"/>
              </a:ext>
            </a:extLst>
          </p:cNvPr>
          <p:cNvGrpSpPr/>
          <p:nvPr/>
        </p:nvGrpSpPr>
        <p:grpSpPr>
          <a:xfrm>
            <a:off x="4829957" y="2023115"/>
            <a:ext cx="900000" cy="900000"/>
            <a:chOff x="4289185" y="3182474"/>
            <a:chExt cx="900000" cy="900000"/>
          </a:xfrm>
        </p:grpSpPr>
        <p:sp>
          <p:nvSpPr>
            <p:cNvPr id="62" name="Ellipse 61">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64" name="Gruppieren 63">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65"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6"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67"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498433" y="2165339"/>
            <a:ext cx="3513138" cy="923330"/>
          </a:xfrm>
        </p:spPr>
        <p:txBody>
          <a:bodyPr/>
          <a:lstStyle/>
          <a:p>
            <a:r>
              <a:rPr lang="de-DE" dirty="0">
                <a:latin typeface="Segoe UI" panose="020B0502040204020203" pitchFamily="34" charset="0"/>
                <a:cs typeface="Segoe UI" panose="020B0502040204020203" pitchFamily="34" charset="0"/>
              </a:rPr>
              <a:t>Für vorsichtigen Umgang mit </a:t>
            </a:r>
            <a:r>
              <a:rPr lang="de-DE" dirty="0" smtClean="0">
                <a:latin typeface="Segoe UI" panose="020B0502040204020203" pitchFamily="34" charset="0"/>
                <a:cs typeface="Segoe UI" panose="020B0502040204020203" pitchFamily="34" charset="0"/>
              </a:rPr>
              <a:t>intimen Aufnahmen </a:t>
            </a:r>
            <a:r>
              <a:rPr lang="de-DE" dirty="0">
                <a:latin typeface="Segoe UI" panose="020B0502040204020203" pitchFamily="34" charset="0"/>
                <a:cs typeface="Segoe UI" panose="020B0502040204020203" pitchFamily="34" charset="0"/>
              </a:rPr>
              <a:t>sensibilis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68" name="Gruppieren 67">
            <a:extLst>
              <a:ext uri="{FF2B5EF4-FFF2-40B4-BE49-F238E27FC236}">
                <a16:creationId xmlns:a16="http://schemas.microsoft.com/office/drawing/2014/main" id="{072D550E-05D1-A756-8F80-8B9F41E8B1A3}"/>
              </a:ext>
            </a:extLst>
          </p:cNvPr>
          <p:cNvGrpSpPr/>
          <p:nvPr/>
        </p:nvGrpSpPr>
        <p:grpSpPr>
          <a:xfrm>
            <a:off x="6373248" y="2023115"/>
            <a:ext cx="900000" cy="900000"/>
            <a:chOff x="4289185" y="3182474"/>
            <a:chExt cx="900000" cy="900000"/>
          </a:xfrm>
        </p:grpSpPr>
        <p:sp>
          <p:nvSpPr>
            <p:cNvPr id="69" name="Ellipse 68">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Ellipse 69">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71" name="Gruppieren 70">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72"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73"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pic>
        <p:nvPicPr>
          <p:cNvPr id="74" name="Grafik 73">
            <a:hlinkClick r:id="rId5"/>
          </p:cNvPr>
          <p:cNvPicPr>
            <a:picLocks noChangeAspect="1"/>
          </p:cNvPicPr>
          <p:nvPr/>
        </p:nvPicPr>
        <p:blipFill>
          <a:blip r:embed="rId6"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536452" y="5580062"/>
            <a:ext cx="232964" cy="231144"/>
          </a:xfrm>
          <a:prstGeom prst="rect">
            <a:avLst/>
          </a:prstGeom>
        </p:spPr>
      </p:pic>
      <p:sp>
        <p:nvSpPr>
          <p:cNvPr id="75" name="Abgerundetes Rechteck 74"/>
          <p:cNvSpPr/>
          <p:nvPr/>
        </p:nvSpPr>
        <p:spPr>
          <a:xfrm>
            <a:off x="10962331" y="5399998"/>
            <a:ext cx="1085467" cy="109482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149707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1">
                                            <p:txEl>
                                              <p:pRg st="0" end="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P spid="54" grpId="0" build="p"/>
      <p:bldP spid="6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Haben Sie mit Ihrem Kind Regeln zum Umgang mit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fremden Personen </a:t>
            </a:r>
            <a:r>
              <a:rPr lang="de-DE" dirty="0">
                <a:latin typeface="+mj-lt"/>
                <a:ea typeface="Calibri" panose="020F0502020204030204" pitchFamily="34" charset="0"/>
                <a:cs typeface="Semikolon Plus"/>
              </a:rPr>
              <a:t>im Internet vereinbart? </a:t>
            </a:r>
          </a:p>
          <a:p>
            <a:pPr marL="269875" lvl="0" indent="-269875"/>
            <a:r>
              <a:rPr lang="de-DE" dirty="0" smtClean="0">
                <a:latin typeface="+mj-lt"/>
                <a:ea typeface="Calibri" panose="020F0502020204030204" pitchFamily="34" charset="0"/>
                <a:cs typeface="Semikolon Plus"/>
              </a:rPr>
              <a:t>Wissen Sie, was „</a:t>
            </a:r>
            <a:r>
              <a:rPr lang="de-DE" dirty="0" err="1" smtClean="0">
                <a:latin typeface="+mj-lt"/>
                <a:ea typeface="Calibri" panose="020F0502020204030204" pitchFamily="34" charset="0"/>
                <a:cs typeface="Semikolon Plus"/>
              </a:rPr>
              <a:t>Cybergrooming</a:t>
            </a:r>
            <a:r>
              <a:rPr lang="de-DE" dirty="0" smtClean="0">
                <a:latin typeface="+mj-lt"/>
                <a:ea typeface="Calibri" panose="020F0502020204030204" pitchFamily="34" charset="0"/>
                <a:cs typeface="Semikolon Plus"/>
              </a:rPr>
              <a:t>“ ist?</a:t>
            </a:r>
          </a:p>
          <a:p>
            <a:pPr marL="269875" lvl="0" indent="-269875"/>
            <a:r>
              <a:rPr lang="de-DE" dirty="0" smtClean="0">
                <a:latin typeface="+mj-lt"/>
                <a:ea typeface="Calibri" panose="020F0502020204030204" pitchFamily="34" charset="0"/>
                <a:cs typeface="Semikolon Plus"/>
              </a:rPr>
              <a:t>Kennen </a:t>
            </a:r>
            <a:r>
              <a:rPr lang="de-DE" dirty="0">
                <a:latin typeface="+mj-lt"/>
                <a:ea typeface="Calibri" panose="020F0502020204030204" pitchFamily="34" charset="0"/>
                <a:cs typeface="Semikolon Plus"/>
              </a:rPr>
              <a:t>Sie jemanden in Ihrem Umfeld, der schon mal negative </a:t>
            </a:r>
            <a:br>
              <a:rPr lang="de-DE" dirty="0">
                <a:latin typeface="+mj-lt"/>
                <a:ea typeface="Calibri" panose="020F0502020204030204" pitchFamily="34" charset="0"/>
                <a:cs typeface="Semikolon Plus"/>
              </a:rPr>
            </a:br>
            <a:r>
              <a:rPr lang="de-DE" dirty="0">
                <a:latin typeface="+mj-lt"/>
                <a:ea typeface="Calibri" panose="020F0502020204030204" pitchFamily="34" charset="0"/>
                <a:cs typeface="Semikolon Plus"/>
              </a:rPr>
              <a:t>Erfahrungen mit Fremden im Internet gemacht hat oder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sogar von </a:t>
            </a:r>
            <a:r>
              <a:rPr lang="de-DE" dirty="0" err="1">
                <a:latin typeface="+mj-lt"/>
                <a:ea typeface="Calibri" panose="020F0502020204030204" pitchFamily="34" charset="0"/>
                <a:cs typeface="Semikolon Plus"/>
              </a:rPr>
              <a:t>Cybergrooming</a:t>
            </a:r>
            <a:r>
              <a:rPr lang="de-DE" dirty="0">
                <a:latin typeface="+mj-lt"/>
                <a:ea typeface="Calibri" panose="020F0502020204030204" pitchFamily="34" charset="0"/>
                <a:cs typeface="Semikolon Plus"/>
              </a:rPr>
              <a:t> betroffen war? </a:t>
            </a:r>
            <a:br>
              <a:rPr lang="de-DE" dirty="0">
                <a:latin typeface="+mj-lt"/>
                <a:ea typeface="Calibri" panose="020F0502020204030204" pitchFamily="34" charset="0"/>
                <a:cs typeface="Semikolon Plus"/>
              </a:rPr>
            </a:b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2</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5" name="Grafik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26299" y="2026468"/>
            <a:ext cx="1823878" cy="3926910"/>
          </a:xfrm>
          <a:prstGeom prst="rect">
            <a:avLst/>
          </a:prstGeom>
        </p:spPr>
      </p:pic>
    </p:spTree>
    <p:extLst>
      <p:ext uri="{BB962C8B-B14F-4D97-AF65-F5344CB8AC3E}">
        <p14:creationId xmlns:p14="http://schemas.microsoft.com/office/powerpoint/2010/main" val="241424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36629" y="3063959"/>
            <a:ext cx="3378323" cy="307777"/>
          </a:xfrm>
        </p:spPr>
        <p:txBody>
          <a:bodyPr/>
          <a:lstStyle/>
          <a:p>
            <a:r>
              <a:rPr lang="de-DE" dirty="0" smtClean="0">
                <a:latin typeface="Segoe UI" panose="020B0502040204020203" pitchFamily="34" charset="0"/>
                <a:cs typeface="Segoe UI" panose="020B0502040204020203" pitchFamily="34" charset="0"/>
              </a:rPr>
              <a:t>Ansprechperso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zu </a:t>
            </a:r>
            <a:r>
              <a:rPr lang="de-DE" sz="2800" b="1" spc="100" dirty="0" err="1" smtClean="0">
                <a:latin typeface="Segoe UI" panose="020B0502040204020203" pitchFamily="34" charset="0"/>
                <a:cs typeface="Segoe UI" panose="020B0502040204020203" pitchFamily="34" charset="0"/>
              </a:rPr>
              <a:t>Cybergrooming</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601496"/>
            <a:ext cx="3600000" cy="615553"/>
          </a:xfrm>
        </p:spPr>
        <p:txBody>
          <a:bodyPr/>
          <a:lstStyle/>
          <a:p>
            <a:r>
              <a:rPr lang="de-DE" dirty="0" err="1">
                <a:latin typeface="Segoe UI" panose="020B0502040204020203" pitchFamily="34" charset="0"/>
                <a:cs typeface="Segoe UI" panose="020B0502040204020203" pitchFamily="34" charset="0"/>
              </a:rPr>
              <a:t>Cybergrooming</a:t>
            </a:r>
            <a:r>
              <a:rPr lang="de-DE" dirty="0">
                <a:latin typeface="Segoe UI" panose="020B0502040204020203" pitchFamily="34" charset="0"/>
                <a:cs typeface="Segoe UI" panose="020B0502040204020203" pitchFamily="34" charset="0"/>
              </a:rPr>
              <a:t> zum Thema ma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4" y="3060351"/>
            <a:ext cx="3378323" cy="307777"/>
          </a:xfrm>
        </p:spPr>
        <p:txBody>
          <a:bodyPr/>
          <a:lstStyle/>
          <a:p>
            <a:r>
              <a:rPr lang="de-DE" dirty="0">
                <a:latin typeface="Segoe UI" panose="020B0502040204020203" pitchFamily="34" charset="0"/>
                <a:cs typeface="Segoe UI" panose="020B0502040204020203" pitchFamily="34" charset="0"/>
              </a:rPr>
              <a:t>Daten schü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Die Person </a:t>
            </a:r>
            <a:r>
              <a:rPr lang="de-DE" dirty="0" smtClean="0">
                <a:latin typeface="Segoe UI" panose="020B0502040204020203" pitchFamily="34" charset="0"/>
                <a:cs typeface="Segoe UI" panose="020B0502040204020203" pitchFamily="34" charset="0"/>
              </a:rPr>
              <a:t>meld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oder block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Beweise sichern </a:t>
            </a:r>
            <a:r>
              <a:rPr lang="de-DE" dirty="0" smtClean="0">
                <a:latin typeface="Segoe UI" panose="020B0502040204020203" pitchFamily="34" charset="0"/>
                <a:cs typeface="Segoe UI" panose="020B0502040204020203" pitchFamily="34" charset="0"/>
              </a:rPr>
              <a:t>und</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zeige </a:t>
            </a:r>
            <a:r>
              <a:rPr lang="de-DE" dirty="0">
                <a:latin typeface="Segoe UI" panose="020B0502040204020203" pitchFamily="34" charset="0"/>
                <a:cs typeface="Segoe UI" panose="020B0502040204020203" pitchFamily="34" charset="0"/>
              </a:rPr>
              <a:t>erstat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615553"/>
          </a:xfrm>
        </p:spPr>
        <p:txBody>
          <a:bodyPr/>
          <a:lstStyle/>
          <a:p>
            <a:r>
              <a:rPr lang="de-DE" dirty="0">
                <a:latin typeface="Segoe UI" panose="020B0502040204020203" pitchFamily="34" charset="0"/>
                <a:cs typeface="Segoe UI" panose="020B0502040204020203" pitchFamily="34" charset="0"/>
              </a:rPr>
              <a:t>Gefahr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spre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Nicht auf Erpressung </a:t>
            </a:r>
            <a:r>
              <a:rPr lang="de-DE" dirty="0" smtClean="0">
                <a:latin typeface="Segoe UI" panose="020B0502040204020203" pitchFamily="34" charset="0"/>
                <a:cs typeface="Segoe UI" panose="020B0502040204020203" pitchFamily="34" charset="0"/>
              </a:rPr>
              <a:t>ei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gehen und </a:t>
            </a:r>
            <a:r>
              <a:rPr lang="de-DE" dirty="0">
                <a:latin typeface="Segoe UI" panose="020B0502040204020203" pitchFamily="34" charset="0"/>
                <a:cs typeface="Segoe UI" panose="020B0502040204020203" pitchFamily="34" charset="0"/>
              </a:rPr>
              <a:t>Hilfe </a:t>
            </a:r>
            <a:r>
              <a:rPr lang="de-DE" dirty="0" smtClean="0">
                <a:latin typeface="Segoe UI" panose="020B0502040204020203" pitchFamily="34" charset="0"/>
                <a:cs typeface="Segoe UI" panose="020B0502040204020203" pitchFamily="34" charset="0"/>
              </a:rPr>
              <a:t>holen </a:t>
            </a:r>
            <a:r>
              <a:rPr lang="de-DE" dirty="0" smtClean="0">
                <a:solidFill>
                  <a:schemeClr val="bg1"/>
                </a:solidFill>
                <a:latin typeface="Segoe UI" panose="020B0502040204020203" pitchFamily="34" charset="0"/>
                <a:cs typeface="Segoe UI" panose="020B0502040204020203" pitchFamily="34" charset="0"/>
              </a:rPr>
              <a:t>__</a:t>
            </a:r>
            <a:endParaRPr lang="de-DE" sz="2000" dirty="0">
              <a:solidFill>
                <a:schemeClr val="bg1"/>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3</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55" name="Abgerundetes Rechteck 54"/>
          <p:cNvSpPr/>
          <p:nvPr/>
        </p:nvSpPr>
        <p:spPr>
          <a:xfrm>
            <a:off x="10962331" y="5399998"/>
            <a:ext cx="1085467" cy="109482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40664" y="5483817"/>
            <a:ext cx="928800" cy="928800"/>
          </a:xfrm>
          <a:prstGeom prst="rect">
            <a:avLst/>
          </a:prstGeom>
        </p:spPr>
      </p:pic>
      <p:pic>
        <p:nvPicPr>
          <p:cNvPr id="62" name="Grafik 61">
            <a:hlinkClick r:id="rId7"/>
          </p:cNvPr>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60217" y="5576202"/>
            <a:ext cx="232964" cy="231144"/>
          </a:xfrm>
          <a:prstGeom prst="rect">
            <a:avLst/>
          </a:prstGeom>
        </p:spPr>
      </p:pic>
    </p:spTree>
    <p:extLst>
      <p:ext uri="{BB962C8B-B14F-4D97-AF65-F5344CB8AC3E}">
        <p14:creationId xmlns:p14="http://schemas.microsoft.com/office/powerpoint/2010/main" val="110321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a:t>
            </a:r>
            <a:r>
              <a:rPr lang="de-DE" dirty="0" smtClean="0">
                <a:latin typeface="Segoe UI" panose="020B0502040204020203" pitchFamily="34" charset="0"/>
                <a:cs typeface="Segoe UI" panose="020B0502040204020203" pitchFamily="34" charset="0"/>
              </a:rPr>
              <a:t>Eltern</a:t>
            </a:r>
            <a:endParaRPr lang="de-DE" dirty="0" smtClean="0"/>
          </a:p>
        </p:txBody>
      </p:sp>
      <p:sp>
        <p:nvSpPr>
          <p:cNvPr id="10" name="Textplatzhalter 9"/>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a:t>
            </a:r>
            <a:r>
              <a:rPr lang="de-DE" b="1" dirty="0" smtClean="0">
                <a:solidFill>
                  <a:schemeClr val="accent1"/>
                </a:solidFill>
              </a:rPr>
              <a:t>Familie</a:t>
            </a:r>
          </a:p>
          <a:p>
            <a:pPr>
              <a:buClr>
                <a:schemeClr val="accent4"/>
              </a:buClr>
            </a:pPr>
            <a:r>
              <a:rPr lang="de-DE" b="1" dirty="0" err="1" smtClean="0">
                <a:solidFill>
                  <a:schemeClr val="accent4"/>
                </a:solidFill>
              </a:rPr>
              <a:t>Social</a:t>
            </a:r>
            <a:r>
              <a:rPr lang="de-DE" b="1" dirty="0" smtClean="0">
                <a:solidFill>
                  <a:schemeClr val="accent4"/>
                </a:solidFill>
              </a:rPr>
              <a:t> Media</a:t>
            </a:r>
            <a:endParaRPr lang="de-DE" b="1" dirty="0">
              <a:solidFill>
                <a:schemeClr val="accent4"/>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6"/>
              </a:buClr>
            </a:pPr>
            <a:r>
              <a:rPr lang="de-DE" b="1" dirty="0" smtClean="0">
                <a:solidFill>
                  <a:schemeClr val="accent6"/>
                </a:solidFill>
              </a:rPr>
              <a:t>Medien </a:t>
            </a:r>
            <a:r>
              <a:rPr lang="de-DE" b="1" dirty="0">
                <a:solidFill>
                  <a:schemeClr val="accent6"/>
                </a:solidFill>
              </a:rPr>
              <a:t>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4</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6" name="Abgerundetes Rechteck 15"/>
          <p:cNvSpPr/>
          <p:nvPr/>
        </p:nvSpPr>
        <p:spPr>
          <a:xfrm>
            <a:off x="8795340" y="2500404"/>
            <a:ext cx="2393360" cy="2349500"/>
          </a:xfrm>
          <a:prstGeom prst="roundRect">
            <a:avLst/>
          </a:prstGeom>
          <a:solidFill>
            <a:schemeClr val="accent3">
              <a:alpha val="30196"/>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chemeClr val="accent2">
              <a:alpha val="30196"/>
            </a:schemeClr>
          </a:solidFill>
          <a:ln>
            <a:solidFill>
              <a:schemeClr val="accent3"/>
            </a:solidFill>
          </a:ln>
        </p:spPr>
      </p:pic>
    </p:spTree>
    <p:extLst>
      <p:ext uri="{BB962C8B-B14F-4D97-AF65-F5344CB8AC3E}">
        <p14:creationId xmlns:p14="http://schemas.microsoft.com/office/powerpoint/2010/main" val="36834810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Impressum</a:t>
            </a:r>
            <a:endParaRPr lang="de-DE" dirty="0"/>
          </a:p>
        </p:txBody>
      </p:sp>
      <p:sp>
        <p:nvSpPr>
          <p:cNvPr id="10" name="Textplatzhalter 9"/>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5</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6" name="Grafik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7" name="Grafik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47301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49C064EA-25C9-7C94-267A-0F37D7EFA8F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6</a:t>
            </a:fld>
            <a:endParaRPr lang="de-DE" dirty="0"/>
          </a:p>
        </p:txBody>
      </p:sp>
      <p:grpSp>
        <p:nvGrpSpPr>
          <p:cNvPr id="2" name="Grafik 13">
            <a:extLst>
              <a:ext uri="{FF2B5EF4-FFF2-40B4-BE49-F238E27FC236}">
                <a16:creationId xmlns:a16="http://schemas.microsoft.com/office/drawing/2014/main" id="{A610E2C6-EC3D-CF13-47D7-CE1C1CBF58B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A7310505-472E-EBB9-A28D-7D73212346E4}"/>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532ECDDF-2362-5E5A-25D6-2B9B1C66E97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F18CFBF8-05C3-6993-94DE-2CBDE0D45144}"/>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1AFCC31-08BE-C541-CFE1-F880F5EECAC1}"/>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7</a:t>
            </a:fld>
            <a:endParaRPr lang="de-DE" dirty="0">
              <a:solidFill>
                <a:schemeClr val="accent2"/>
              </a:solidFill>
            </a:endParaRPr>
          </a:p>
        </p:txBody>
      </p:sp>
    </p:spTree>
    <p:extLst>
      <p:ext uri="{BB962C8B-B14F-4D97-AF65-F5344CB8AC3E}">
        <p14:creationId xmlns:p14="http://schemas.microsoft.com/office/powerpoint/2010/main" val="11421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B8EE2ADD-0A27-55B0-70A9-34325FF44F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8</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9</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6"/>
          </p:nvPr>
        </p:nvSpPr>
        <p:spPr/>
        <p:txBody>
          <a:bodyPr/>
          <a:lstStyle/>
          <a:p>
            <a:endParaRPr lang="de-DE"/>
          </a:p>
        </p:txBody>
      </p:sp>
      <p:sp>
        <p:nvSpPr>
          <p:cNvPr id="10" name="Textplatzhalter 9"/>
          <p:cNvSpPr>
            <a:spLocks noGrp="1"/>
          </p:cNvSpPr>
          <p:nvPr>
            <p:ph type="body" sz="quarter" idx="19"/>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7"/>
          </p:nvPr>
        </p:nvSpPr>
        <p:spPr/>
        <p:txBody>
          <a:bodyPr/>
          <a:lstStyle/>
          <a:p>
            <a:endParaRPr lang="de-DE"/>
          </a:p>
        </p:txBody>
      </p:sp>
      <p:sp>
        <p:nvSpPr>
          <p:cNvPr id="29" name="Textplatzhalter 28"/>
          <p:cNvSpPr>
            <a:spLocks noGrp="1"/>
          </p:cNvSpPr>
          <p:nvPr>
            <p:ph type="body" sz="quarter" idx="13"/>
          </p:nvPr>
        </p:nvSpPr>
        <p:spPr/>
        <p:txBody>
          <a:bodyPr/>
          <a:lstStyle/>
          <a:p>
            <a:endParaRPr lang="de-DE"/>
          </a:p>
        </p:txBody>
      </p:sp>
      <p:sp>
        <p:nvSpPr>
          <p:cNvPr id="30" name="Textplatzhalter 29"/>
          <p:cNvSpPr>
            <a:spLocks noGrp="1"/>
          </p:cNvSpPr>
          <p:nvPr>
            <p:ph type="body" sz="quarter" idx="14"/>
          </p:nvPr>
        </p:nvSpPr>
        <p:spPr/>
        <p:txBody>
          <a:bodyPr/>
          <a:lstStyle/>
          <a:p>
            <a:endParaRPr lang="de-DE"/>
          </a:p>
        </p:txBody>
      </p:sp>
      <p:sp>
        <p:nvSpPr>
          <p:cNvPr id="37" name="Textplatzhalter 36"/>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xualisierte_Inhalte_LowBitrate">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902"/>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AD4B3670-9529-53A1-6104-BD2755B9900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0</a:t>
            </a:fld>
            <a:endParaRPr lang="de-DE" dirty="0"/>
          </a:p>
        </p:txBody>
      </p:sp>
      <p:grpSp>
        <p:nvGrpSpPr>
          <p:cNvPr id="2" name="Grafik 13">
            <a:extLst>
              <a:ext uri="{FF2B5EF4-FFF2-40B4-BE49-F238E27FC236}">
                <a16:creationId xmlns:a16="http://schemas.microsoft.com/office/drawing/2014/main" id="{B06C4817-DD73-E218-BDC2-2BD0C65246F3}"/>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160B89EF-8914-B13B-4482-5E94B33372A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18E62FD-DA48-4EA0-6453-5AA40B45EF9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E47395FE-0115-844B-EE1A-B5D9616E7A1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3EB6AF2C-C9CF-2144-CF7B-A67DA79CC0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FEC0A18B-851C-A508-E304-6D713B6D548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1</a:t>
            </a:fld>
            <a:endParaRPr lang="de-DE" dirty="0"/>
          </a:p>
        </p:txBody>
      </p:sp>
      <p:grpSp>
        <p:nvGrpSpPr>
          <p:cNvPr id="2" name="Grafik 13">
            <a:extLst>
              <a:ext uri="{FF2B5EF4-FFF2-40B4-BE49-F238E27FC236}">
                <a16:creationId xmlns:a16="http://schemas.microsoft.com/office/drawing/2014/main" id="{C13CC5F4-B2BB-C979-3BF7-1F706EA60878}"/>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9C41748D-263B-CF80-0C71-2CDF9F501CB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D191999D-BC7F-7DF4-C632-67C8196D318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02357303-32A7-02E2-8EB0-A2108916B6D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9D657A44-2DD9-12F5-0DEE-7CF74DF82E5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77974052"/>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66126AA9-671A-7DFA-EBA8-5F4E5E760D9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2</a:t>
            </a:fld>
            <a:endParaRPr lang="de-DE" dirty="0"/>
          </a:p>
        </p:txBody>
      </p:sp>
      <p:grpSp>
        <p:nvGrpSpPr>
          <p:cNvPr id="2" name="Grafik 13">
            <a:extLst>
              <a:ext uri="{FF2B5EF4-FFF2-40B4-BE49-F238E27FC236}">
                <a16:creationId xmlns:a16="http://schemas.microsoft.com/office/drawing/2014/main" id="{5A218718-99B6-C4ED-C57A-865C1966D58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5B62A641-7AF7-9F5F-80E8-AC0AC32240A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015DFD6-7206-EDC1-4951-FC8D70C830E0}"/>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C153BEB0-6871-6C2B-551F-4DB2BD352433}"/>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E73B1412-BBF7-C60B-1FD8-C3BE57AB8FE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2319296333"/>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1938A0AA-032D-DCDB-CFDB-3D6DAD4DBB1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3</a:t>
            </a:fld>
            <a:endParaRPr lang="de-DE" dirty="0"/>
          </a:p>
        </p:txBody>
      </p:sp>
      <p:grpSp>
        <p:nvGrpSpPr>
          <p:cNvPr id="5" name="Grafik 13">
            <a:extLst>
              <a:ext uri="{FF2B5EF4-FFF2-40B4-BE49-F238E27FC236}">
                <a16:creationId xmlns:a16="http://schemas.microsoft.com/office/drawing/2014/main" id="{D56040C4-6C13-85BF-7617-AC433D004973}"/>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5F127A2-6EF4-2A92-E19B-8EAC911C129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88F52B50-CEB6-4752-7865-941A796FB4F2}"/>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F039BA03-21B0-8B15-5F7E-442E2CFE293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E89C1969-AF4A-EDC3-D3FD-7D1FC818B7C6}"/>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smtClean="0"/>
              <a:t>Sexualisierte Kommunikation</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2" name="Grafik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640622" y="1286694"/>
            <a:ext cx="4326560" cy="5389324"/>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issen Sie, was „</a:t>
            </a:r>
            <a:r>
              <a:rPr lang="de-DE" dirty="0" err="1">
                <a:latin typeface="+mj-lt"/>
                <a:ea typeface="Calibri" panose="020F0502020204030204" pitchFamily="34" charset="0"/>
                <a:cs typeface="Semikolon Plus"/>
              </a:rPr>
              <a:t>Sexting</a:t>
            </a:r>
            <a:r>
              <a:rPr lang="de-DE" dirty="0">
                <a:latin typeface="+mj-lt"/>
                <a:ea typeface="Calibri" panose="020F0502020204030204" pitchFamily="34" charset="0"/>
                <a:cs typeface="Semikolon Plus"/>
              </a:rPr>
              <a:t>“ ist? Warum</a:t>
            </a:r>
            <a:r>
              <a:rPr lang="de-DE" dirty="0" smtClean="0">
                <a:latin typeface="+mj-lt"/>
                <a:ea typeface="Calibri" panose="020F0502020204030204" pitchFamily="34" charset="0"/>
                <a:cs typeface="Semikolon Plus"/>
              </a:rPr>
              <a:t>, denken Si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kann </a:t>
            </a:r>
            <a:r>
              <a:rPr lang="de-DE" dirty="0">
                <a:latin typeface="+mj-lt"/>
                <a:ea typeface="Calibri" panose="020F0502020204030204" pitchFamily="34" charset="0"/>
                <a:cs typeface="Semikolon Plus"/>
              </a:rPr>
              <a:t>es für </a:t>
            </a:r>
            <a:r>
              <a:rPr lang="de-DE" dirty="0" smtClean="0">
                <a:latin typeface="+mj-lt"/>
                <a:ea typeface="Calibri" panose="020F0502020204030204" pitchFamily="34" charset="0"/>
                <a:cs typeface="Semikolon Plus"/>
              </a:rPr>
              <a:t>manche Jugendliche reizvoll </a:t>
            </a:r>
            <a:r>
              <a:rPr lang="de-DE" dirty="0">
                <a:latin typeface="+mj-lt"/>
                <a:ea typeface="Calibri" panose="020F0502020204030204" pitchFamily="34" charset="0"/>
                <a:cs typeface="Semikolon Plus"/>
              </a:rPr>
              <a:t>sein?</a:t>
            </a:r>
          </a:p>
          <a:p>
            <a:pPr marL="269875" indent="-269875"/>
            <a:r>
              <a:rPr lang="de-DE" dirty="0">
                <a:latin typeface="+mj-lt"/>
                <a:ea typeface="Calibri" panose="020F0502020204030204" pitchFamily="34" charset="0"/>
                <a:cs typeface="Semikolon Plus"/>
              </a:rPr>
              <a:t>Hat jemand in Ihrem Umfeld schon </a:t>
            </a:r>
            <a:r>
              <a:rPr lang="de-DE" dirty="0" smtClean="0">
                <a:latin typeface="+mj-lt"/>
                <a:ea typeface="Calibri" panose="020F0502020204030204" pitchFamily="34" charset="0"/>
                <a:cs typeface="Semikolon Plus"/>
              </a:rPr>
              <a:t>mal ungewollt ein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Nachricht mit </a:t>
            </a:r>
            <a:r>
              <a:rPr lang="de-DE" dirty="0">
                <a:latin typeface="+mj-lt"/>
                <a:ea typeface="Calibri" panose="020F0502020204030204" pitchFamily="34" charset="0"/>
                <a:cs typeface="Semikolon Plus"/>
              </a:rPr>
              <a:t>sexuellem </a:t>
            </a:r>
            <a:r>
              <a:rPr lang="de-DE" dirty="0" smtClean="0">
                <a:latin typeface="+mj-lt"/>
                <a:ea typeface="Calibri" panose="020F0502020204030204" pitchFamily="34" charset="0"/>
                <a:cs typeface="Semikolon Plus"/>
              </a:rPr>
              <a:t>Inhalt bekommen</a:t>
            </a:r>
            <a:r>
              <a:rPr lang="de-DE" dirty="0">
                <a:latin typeface="+mj-lt"/>
                <a:ea typeface="Calibri" panose="020F0502020204030204" pitchFamily="34" charset="0"/>
                <a:cs typeface="Semikolon Plus"/>
              </a:rPr>
              <a:t>?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ie </a:t>
            </a:r>
            <a:r>
              <a:rPr lang="de-DE" dirty="0">
                <a:latin typeface="+mj-lt"/>
                <a:ea typeface="Calibri" panose="020F0502020204030204" pitchFamily="34" charset="0"/>
                <a:cs typeface="Semikolon Plus"/>
              </a:rPr>
              <a:t>hat die Person reagiert</a:t>
            </a:r>
            <a:r>
              <a:rPr lang="de-DE" dirty="0" smtClean="0">
                <a:latin typeface="+mj-lt"/>
                <a:ea typeface="Calibri" panose="020F0502020204030204" pitchFamily="34" charset="0"/>
                <a:cs typeface="Semikolon Plus"/>
              </a:rPr>
              <a:t>?</a:t>
            </a:r>
            <a:r>
              <a:rPr lang="de-DE" dirty="0"/>
              <a:t> </a:t>
            </a:r>
            <a:endParaRPr lang="de-DE" dirty="0" smtClean="0"/>
          </a:p>
          <a:p>
            <a:pPr marL="269875" indent="-269875"/>
            <a:r>
              <a:rPr lang="de-DE" dirty="0"/>
              <a:t>Wo können Kinder und Jugendliche </a:t>
            </a:r>
            <a:r>
              <a:rPr lang="de-DE" dirty="0" smtClean="0"/>
              <a:t>im Netz </a:t>
            </a:r>
            <a:br>
              <a:rPr lang="de-DE" dirty="0" smtClean="0"/>
            </a:br>
            <a:r>
              <a:rPr lang="de-DE" dirty="0" smtClean="0"/>
              <a:t>mit sexuell belästigenden Nachrichten </a:t>
            </a:r>
            <a:br>
              <a:rPr lang="de-DE" dirty="0" smtClean="0"/>
            </a:br>
            <a:r>
              <a:rPr lang="de-DE" dirty="0" smtClean="0"/>
              <a:t>konfrontiert </a:t>
            </a:r>
            <a:r>
              <a:rPr lang="de-DE" dirty="0"/>
              <a:t>werden?</a:t>
            </a:r>
          </a:p>
          <a:p>
            <a:pPr marL="269875" lvl="0" indent="-269875"/>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5" name="Grafik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530060" y="2026468"/>
            <a:ext cx="1823878" cy="3926910"/>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63" t="1496" r="2631" b="73881"/>
          <a:stretch/>
        </p:blipFill>
        <p:spPr>
          <a:xfrm>
            <a:off x="554327" y="1665288"/>
            <a:ext cx="11086811" cy="4048433"/>
          </a:xfrm>
          <a:prstGeom prst="rect">
            <a:avLst/>
          </a:prstGeom>
        </p:spPr>
      </p:pic>
    </p:spTree>
    <p:extLst>
      <p:ext uri="{BB962C8B-B14F-4D97-AF65-F5344CB8AC3E}">
        <p14:creationId xmlns:p14="http://schemas.microsoft.com/office/powerpoint/2010/main" val="47569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6</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30" t="26051" r="2065" b="42256"/>
          <a:stretch/>
        </p:blipFill>
        <p:spPr>
          <a:xfrm>
            <a:off x="554327" y="1665288"/>
            <a:ext cx="9999373" cy="4672012"/>
          </a:xfrm>
          <a:prstGeom prst="rect">
            <a:avLst/>
          </a:prstGeom>
        </p:spPr>
      </p:pic>
    </p:spTree>
    <p:extLst>
      <p:ext uri="{BB962C8B-B14F-4D97-AF65-F5344CB8AC3E}">
        <p14:creationId xmlns:p14="http://schemas.microsoft.com/office/powerpoint/2010/main" val="34712665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7</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572" t="57729" r="2559" b="1641"/>
          <a:stretch/>
        </p:blipFill>
        <p:spPr>
          <a:xfrm>
            <a:off x="554327" y="1665289"/>
            <a:ext cx="7689787" cy="4649932"/>
          </a:xfrm>
        </p:spPr>
      </p:pic>
      <p:pic>
        <p:nvPicPr>
          <p:cNvPr id="13"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572" t="57729" r="2559" b="1641"/>
          <a:stretch/>
        </p:blipFill>
        <p:spPr>
          <a:xfrm>
            <a:off x="550863" y="1665289"/>
            <a:ext cx="7693251" cy="4652027"/>
          </a:xfrm>
        </p:spPr>
      </p:pic>
      <p:pic>
        <p:nvPicPr>
          <p:cNvPr id="14"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572" t="57729" r="2559" b="1641"/>
          <a:stretch/>
        </p:blipFill>
        <p:spPr>
          <a:xfrm>
            <a:off x="550863" y="1663194"/>
            <a:ext cx="7693251" cy="4652027"/>
          </a:xfrm>
          <a:prstGeom prst="rect">
            <a:avLst/>
          </a:prstGeom>
        </p:spPr>
      </p:pic>
    </p:spTree>
    <p:extLst>
      <p:ext uri="{BB962C8B-B14F-4D97-AF65-F5344CB8AC3E}">
        <p14:creationId xmlns:p14="http://schemas.microsoft.com/office/powerpoint/2010/main" val="39076871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222" t="1491" r="2241" b="70779"/>
          <a:stretch/>
        </p:blipFill>
        <p:spPr>
          <a:xfrm>
            <a:off x="550863" y="1676406"/>
            <a:ext cx="11880000" cy="4876501"/>
          </a:xfr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22" t="1491" r="2241" b="70779"/>
          <a:stretch/>
        </p:blipFill>
        <p:spPr>
          <a:xfrm>
            <a:off x="550863" y="1676406"/>
            <a:ext cx="11090275" cy="4552335"/>
          </a:xfrm>
          <a:prstGeom prst="rect">
            <a:avLst/>
          </a:prstGeom>
        </p:spPr>
      </p:pic>
    </p:spTree>
    <p:extLst>
      <p:ext uri="{BB962C8B-B14F-4D97-AF65-F5344CB8AC3E}">
        <p14:creationId xmlns:p14="http://schemas.microsoft.com/office/powerpoint/2010/main" val="23628275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9</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39" t="29316" r="2690" b="38233"/>
          <a:stretch/>
        </p:blipFill>
        <p:spPr>
          <a:xfrm>
            <a:off x="550863" y="1665289"/>
            <a:ext cx="9652680" cy="4659530"/>
          </a:xfrm>
          <a:prstGeom prst="rect">
            <a:avLst/>
          </a:prstGeom>
        </p:spPr>
      </p:pic>
    </p:spTree>
    <p:extLst>
      <p:ext uri="{BB962C8B-B14F-4D97-AF65-F5344CB8AC3E}">
        <p14:creationId xmlns:p14="http://schemas.microsoft.com/office/powerpoint/2010/main" val="10179225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BE2F4CA1-FA53-45F9-B408-EE067BF1B69C}">
  <ds:schemaRefs>
    <ds:schemaRef ds:uri="http://purl.org/dc/elements/1.1/"/>
    <ds:schemaRef ds:uri="http://schemas.microsoft.com/office/2006/metadata/properties"/>
    <ds:schemaRef ds:uri="44694c35-30c0-4ff0-8b82-8424709eaf3a"/>
    <ds:schemaRef ds:uri="http://purl.org/dc/terms/"/>
    <ds:schemaRef ds:uri="http://schemas.openxmlformats.org/package/2006/metadata/core-properties"/>
    <ds:schemaRef ds:uri="http://schemas.microsoft.com/office/2006/documentManagement/types"/>
    <ds:schemaRef ds:uri="5a4219a2-45cf-45bf-91bc-5ddc1db9b26b"/>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098</Words>
  <Application>Microsoft Office PowerPoint</Application>
  <PresentationFormat>Breitbild</PresentationFormat>
  <Paragraphs>260</Paragraphs>
  <Slides>23</Slides>
  <Notes>15</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2"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8</cp:revision>
  <dcterms:created xsi:type="dcterms:W3CDTF">2024-05-08T06:34:22Z</dcterms:created>
  <dcterms:modified xsi:type="dcterms:W3CDTF">2025-04-03T11: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